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7" r:id="rId2"/>
  </p:sldMasterIdLst>
  <p:notesMasterIdLst>
    <p:notesMasterId r:id="rId16"/>
  </p:notesMasterIdLst>
  <p:sldIdLst>
    <p:sldId id="311" r:id="rId3"/>
    <p:sldId id="928" r:id="rId4"/>
    <p:sldId id="929" r:id="rId5"/>
    <p:sldId id="930" r:id="rId6"/>
    <p:sldId id="931" r:id="rId7"/>
    <p:sldId id="932" r:id="rId8"/>
    <p:sldId id="933" r:id="rId9"/>
    <p:sldId id="934" r:id="rId10"/>
    <p:sldId id="936" r:id="rId11"/>
    <p:sldId id="937" r:id="rId12"/>
    <p:sldId id="938" r:id="rId13"/>
    <p:sldId id="939" r:id="rId14"/>
    <p:sldId id="727" r:id="rId15"/>
  </p:sldIdLst>
  <p:sldSz cx="12192000" cy="6858000"/>
  <p:notesSz cx="6797675" cy="9926638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iwei Liu" initials="ZL" lastIdx="1" clrIdx="0">
    <p:extLst>
      <p:ext uri="{19B8F6BF-5375-455C-9EA6-DF929625EA0E}">
        <p15:presenceInfo xmlns:p15="http://schemas.microsoft.com/office/powerpoint/2012/main" userId="Zhiwei Liu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A4E"/>
    <a:srgbClr val="44A1EF"/>
    <a:srgbClr val="99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2EAB273-7588-4794-A548-3AC03471CA5C}" v="10" dt="2020-05-21T02:07:09.34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4" d="100"/>
          <a:sy n="74" d="100"/>
        </p:scale>
        <p:origin x="342" y="3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7F1D08-7B66-4CB7-BAD0-79DBF031AE46}" type="datetimeFigureOut">
              <a:rPr lang="zh-CN" altLang="en-US" smtClean="0"/>
              <a:t>2020/7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0CE899-ACDA-48C4-BFB0-E057114FE47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711344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0CE899-ACDA-48C4-BFB0-E057114FE476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432546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0CE899-ACDA-48C4-BFB0-E057114FE476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65069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072BA04-62E7-4388-99CC-3C04A4E91B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02066" y="2701351"/>
            <a:ext cx="9144000" cy="720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600" baseline="0">
                <a:latin typeface="Helvetica" panose="020B060402020202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419A413F-C500-4EBE-98BD-641779B70C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02066" y="3602038"/>
            <a:ext cx="9144000" cy="360000"/>
          </a:xfrm>
        </p:spPr>
        <p:txBody>
          <a:bodyPr>
            <a:normAutofit/>
          </a:bodyPr>
          <a:lstStyle>
            <a:lvl1pPr marL="0" indent="0" algn="l">
              <a:buNone/>
              <a:defRPr sz="2000" baseline="0">
                <a:latin typeface="Helvetica" panose="020B0604020202020204" pitchFamily="34" charset="0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F6357AF9-D221-4CFE-BB12-4A18C399AF41}"/>
              </a:ext>
            </a:extLst>
          </p:cNvPr>
          <p:cNvCxnSpPr/>
          <p:nvPr userDrawn="1"/>
        </p:nvCxnSpPr>
        <p:spPr>
          <a:xfrm>
            <a:off x="344104" y="3421351"/>
            <a:ext cx="1085056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>
            <a:extLst>
              <a:ext uri="{FF2B5EF4-FFF2-40B4-BE49-F238E27FC236}">
                <a16:creationId xmlns:a16="http://schemas.microsoft.com/office/drawing/2014/main" id="{D7E6EA76-777F-4916-BF6E-C61D46A4D6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104" y="2837657"/>
            <a:ext cx="1438986" cy="540000"/>
          </a:xfrm>
          <a:prstGeom prst="rect">
            <a:avLst/>
          </a:prstGeom>
        </p:spPr>
      </p:pic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3A501845-FFC3-4147-8895-2EC57E78CF09}"/>
              </a:ext>
            </a:extLst>
          </p:cNvPr>
          <p:cNvCxnSpPr/>
          <p:nvPr userDrawn="1"/>
        </p:nvCxnSpPr>
        <p:spPr>
          <a:xfrm>
            <a:off x="1916698" y="3153103"/>
            <a:ext cx="108000" cy="0"/>
          </a:xfrm>
          <a:prstGeom prst="line">
            <a:avLst/>
          </a:prstGeom>
          <a:ln w="63500">
            <a:solidFill>
              <a:srgbClr val="44A1E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03623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548D6B9-567A-46DE-879F-33D2454EF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6A614A68-47A3-417E-965F-D7063FEC95C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930E94FB-6DA2-4760-9EEC-F4BE4FD755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C343336-447F-4B0C-A3AF-7CE6B42081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E3C5D-0D7A-4217-9D07-9555E7FF7846}" type="datetimeFigureOut">
              <a:rPr lang="zh-CN" altLang="en-US" smtClean="0"/>
              <a:t>2020/7/1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AC1D9E5F-5565-4A38-BAE9-FC8EEE9274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21E0585-6AC9-4A91-AE33-E6676BBC0B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1CA3-913A-4FDA-BEF8-87B203EC96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678183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A6C4974-BB61-45E1-B66E-1AEA523CD4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3D5DC86B-6BDF-4C60-9BB5-62F8B45317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7913C80-9CE9-4607-BA36-06CA2C154F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E3C5D-0D7A-4217-9D07-9555E7FF7846}" type="datetimeFigureOut">
              <a:rPr lang="zh-CN" altLang="en-US" smtClean="0"/>
              <a:t>2020/7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B99D6D8-8067-473D-AC8B-F20B8E528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8C6A480-F3D5-44CE-BE63-4C7D92FE9B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1CA3-913A-4FDA-BEF8-87B203EC96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21059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CB52BB86-3033-4010-846B-C7F1AD8A84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4DCE5D93-A3F6-4610-945E-363D0B97F3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1A94A01-4570-4CFB-B74C-542572535D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E3C5D-0D7A-4217-9D07-9555E7FF7846}" type="datetimeFigureOut">
              <a:rPr lang="zh-CN" altLang="en-US" smtClean="0"/>
              <a:t>2020/7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FA53168-8C2B-4B0E-A449-EC14278B37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0C776BF-4ED4-4660-8BA9-1D54643224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1CA3-913A-4FDA-BEF8-87B203EC96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226889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6" y="7318"/>
            <a:ext cx="10515600" cy="53772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6" y="789567"/>
            <a:ext cx="10515600" cy="53873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8ECB5D-ECAB-4A60-B5C5-7D2C9FD4F4D4}" type="datetime1">
              <a:rPr lang="en-US" smtClean="0"/>
              <a:t>7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E4E07-0846-485A-9B60-03AA64871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3203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5594DE2F-11F4-4DE1-B5C9-C1D34AE2CC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91008478-9D95-4021-B47D-E48B35310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3" y="223232"/>
            <a:ext cx="10850563" cy="540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aseline="0">
                <a:latin typeface="Helvetica" panose="020B060402020202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B42EF26-190A-4135-A6C0-CE04798EAB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9924" y="1157033"/>
            <a:ext cx="10683876" cy="4351338"/>
          </a:xfrm>
        </p:spPr>
        <p:txBody>
          <a:bodyPr/>
          <a:lstStyle>
            <a:lvl1pPr>
              <a:defRPr baseline="0">
                <a:latin typeface="Helvetica" panose="020B060402020202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Helvetica" panose="020B0604020202020204" pitchFamily="34" charset="0"/>
                <a:ea typeface="微软雅黑" panose="020B0503020204020204" pitchFamily="34" charset="-122"/>
              </a:defRPr>
            </a:lvl2pPr>
            <a:lvl3pPr>
              <a:defRPr baseline="0">
                <a:latin typeface="Helvetica" panose="020B060402020202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Helvetica" panose="020B060402020202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Helvetica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F29A9BDD-48A1-4FE0-B24A-EDF579655BB9}"/>
              </a:ext>
            </a:extLst>
          </p:cNvPr>
          <p:cNvCxnSpPr/>
          <p:nvPr userDrawn="1"/>
        </p:nvCxnSpPr>
        <p:spPr>
          <a:xfrm>
            <a:off x="669924" y="763231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图片 9">
            <a:extLst>
              <a:ext uri="{FF2B5EF4-FFF2-40B4-BE49-F238E27FC236}">
                <a16:creationId xmlns:a16="http://schemas.microsoft.com/office/drawing/2014/main" id="{DF21A23E-C33C-4C80-85FA-39525D2B80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297" y="277232"/>
            <a:ext cx="1151189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4402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chemeClr val="bg1">
            <a:alpha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12F876C-050E-43D5-92BE-06B01E8D2C4A}"/>
              </a:ext>
            </a:extLst>
          </p:cNvPr>
          <p:cNvSpPr/>
          <p:nvPr userDrawn="1"/>
        </p:nvSpPr>
        <p:spPr>
          <a:xfrm>
            <a:off x="0" y="730068"/>
            <a:ext cx="12192000" cy="6127927"/>
          </a:xfrm>
          <a:prstGeom prst="rect">
            <a:avLst/>
          </a:prstGeom>
          <a:blipFill dpi="0" rotWithShape="1">
            <a:blip r:embed="rId2">
              <a:alphaModFix amt="5000"/>
            </a:blip>
            <a:srcRect/>
            <a:tile tx="0" ty="0" sx="100000" sy="100000" flip="xy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DE3C50F-5BB0-4781-9DDE-D9B49E9DD62B}"/>
              </a:ext>
            </a:extLst>
          </p:cNvPr>
          <p:cNvSpPr/>
          <p:nvPr userDrawn="1"/>
        </p:nvSpPr>
        <p:spPr>
          <a:xfrm>
            <a:off x="0" y="693174"/>
            <a:ext cx="12192000" cy="6164822"/>
          </a:xfrm>
          <a:prstGeom prst="rect">
            <a:avLst/>
          </a:prstGeom>
          <a:solidFill>
            <a:schemeClr val="bg1">
              <a:lumMod val="8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5B01D31-D332-4DAD-B69C-04FCE7108512}"/>
              </a:ext>
            </a:extLst>
          </p:cNvPr>
          <p:cNvCxnSpPr>
            <a:cxnSpLocks/>
          </p:cNvCxnSpPr>
          <p:nvPr userDrawn="1"/>
        </p:nvCxnSpPr>
        <p:spPr>
          <a:xfrm>
            <a:off x="0" y="693174"/>
            <a:ext cx="12192000" cy="0"/>
          </a:xfrm>
          <a:prstGeom prst="line">
            <a:avLst/>
          </a:prstGeom>
          <a:ln w="31750" cmpd="dbl">
            <a:solidFill>
              <a:srgbClr val="002060">
                <a:alpha val="86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5B832780-7083-42E4-9E2E-2D28E262ECC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9774" y="190750"/>
            <a:ext cx="1661390" cy="46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8868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57493" y="372358"/>
            <a:ext cx="10972800" cy="724103"/>
          </a:xfrm>
        </p:spPr>
        <p:txBody>
          <a:bodyPr/>
          <a:lstStyle>
            <a:lvl1pPr>
              <a:defRPr sz="2400" b="1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90496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072BA04-62E7-4388-99CC-3C04A4E91B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02066" y="2701351"/>
            <a:ext cx="9144000" cy="720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600" baseline="0">
                <a:latin typeface="Helvetica" panose="020B060402020202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419A413F-C500-4EBE-98BD-641779B70C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02066" y="3602038"/>
            <a:ext cx="9144000" cy="360000"/>
          </a:xfrm>
        </p:spPr>
        <p:txBody>
          <a:bodyPr>
            <a:normAutofit/>
          </a:bodyPr>
          <a:lstStyle>
            <a:lvl1pPr marL="0" indent="0" algn="l">
              <a:buNone/>
              <a:defRPr sz="2000" baseline="0">
                <a:latin typeface="Helvetica" panose="020B0604020202020204" pitchFamily="34" charset="0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F6357AF9-D221-4CFE-BB12-4A18C399AF41}"/>
              </a:ext>
            </a:extLst>
          </p:cNvPr>
          <p:cNvCxnSpPr/>
          <p:nvPr userDrawn="1"/>
        </p:nvCxnSpPr>
        <p:spPr>
          <a:xfrm>
            <a:off x="344104" y="3421351"/>
            <a:ext cx="1085056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>
            <a:extLst>
              <a:ext uri="{FF2B5EF4-FFF2-40B4-BE49-F238E27FC236}">
                <a16:creationId xmlns:a16="http://schemas.microsoft.com/office/drawing/2014/main" id="{D7E6EA76-777F-4916-BF6E-C61D46A4D6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104" y="2837657"/>
            <a:ext cx="1438986" cy="540000"/>
          </a:xfrm>
          <a:prstGeom prst="rect">
            <a:avLst/>
          </a:prstGeom>
        </p:spPr>
      </p:pic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3A501845-FFC3-4147-8895-2EC57E78CF09}"/>
              </a:ext>
            </a:extLst>
          </p:cNvPr>
          <p:cNvCxnSpPr/>
          <p:nvPr userDrawn="1"/>
        </p:nvCxnSpPr>
        <p:spPr>
          <a:xfrm>
            <a:off x="1916698" y="3153103"/>
            <a:ext cx="108000" cy="0"/>
          </a:xfrm>
          <a:prstGeom prst="line">
            <a:avLst/>
          </a:prstGeom>
          <a:ln w="63500">
            <a:solidFill>
              <a:srgbClr val="44A1E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74937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图片 15" descr="图片包含 天空, 户外, 地图, 文字&#10;&#10;描述已自动生成">
            <a:extLst>
              <a:ext uri="{FF2B5EF4-FFF2-40B4-BE49-F238E27FC236}">
                <a16:creationId xmlns:a16="http://schemas.microsoft.com/office/drawing/2014/main" id="{6E2B0484-8F45-4FD8-80FF-B2EC486359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" y="0"/>
            <a:ext cx="12192005" cy="6858000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AB9D062E-8B08-4958-8C59-0B3FF37F5E82}"/>
              </a:ext>
            </a:extLst>
          </p:cNvPr>
          <p:cNvSpPr/>
          <p:nvPr userDrawn="1"/>
        </p:nvSpPr>
        <p:spPr>
          <a:xfrm>
            <a:off x="-1" y="1756138"/>
            <a:ext cx="10425181" cy="3120662"/>
          </a:xfrm>
          <a:prstGeom prst="rect">
            <a:avLst/>
          </a:prstGeom>
          <a:solidFill>
            <a:srgbClr val="404A4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9072BA04-62E7-4388-99CC-3C04A4E91B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02813" y="2701351"/>
            <a:ext cx="9144000" cy="720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600" baseline="0">
                <a:solidFill>
                  <a:schemeClr val="bg1"/>
                </a:solidFill>
                <a:latin typeface="Helvetica" panose="020B060402020202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419A413F-C500-4EBE-98BD-641779B70C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02813" y="3602038"/>
            <a:ext cx="9144000" cy="360000"/>
          </a:xfrm>
        </p:spPr>
        <p:txBody>
          <a:bodyPr>
            <a:normAutofit/>
          </a:bodyPr>
          <a:lstStyle>
            <a:lvl1pPr marL="0" indent="0" algn="l">
              <a:buNone/>
              <a:defRPr sz="2000" baseline="0">
                <a:solidFill>
                  <a:schemeClr val="bg1"/>
                </a:solidFill>
                <a:latin typeface="Helvetica" panose="020B0604020202020204" pitchFamily="34" charset="0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A9BCACC8-8595-45C0-B4EC-3F4403801961}"/>
              </a:ext>
            </a:extLst>
          </p:cNvPr>
          <p:cNvSpPr/>
          <p:nvPr userDrawn="1"/>
        </p:nvSpPr>
        <p:spPr>
          <a:xfrm>
            <a:off x="10425183" y="1756138"/>
            <a:ext cx="1766817" cy="3120662"/>
          </a:xfrm>
          <a:prstGeom prst="rect">
            <a:avLst/>
          </a:prstGeom>
          <a:solidFill>
            <a:schemeClr val="bg2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A7A973F7-1770-4E0B-8692-07A6718E0706}"/>
              </a:ext>
            </a:extLst>
          </p:cNvPr>
          <p:cNvCxnSpPr/>
          <p:nvPr userDrawn="1"/>
        </p:nvCxnSpPr>
        <p:spPr>
          <a:xfrm>
            <a:off x="2492302" y="3431861"/>
            <a:ext cx="6840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图片 4" descr="图片包含 游戏机, 画&#10;&#10;描述已自动生成">
            <a:extLst>
              <a:ext uri="{FF2B5EF4-FFF2-40B4-BE49-F238E27FC236}">
                <a16:creationId xmlns:a16="http://schemas.microsoft.com/office/drawing/2014/main" id="{AF8E181A-6455-46ED-93C5-E49E787283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024" y="2949857"/>
            <a:ext cx="1828800" cy="733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8706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bg>
      <p:bgPr>
        <a:solidFill>
          <a:schemeClr val="bg1">
            <a:lumMod val="85000"/>
            <a:alpha val="2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C3D183-2FD0-44AE-919A-B6DE19D7A8AD}"/>
              </a:ext>
            </a:extLst>
          </p:cNvPr>
          <p:cNvSpPr/>
          <p:nvPr userDrawn="1"/>
        </p:nvSpPr>
        <p:spPr>
          <a:xfrm>
            <a:off x="0" y="221382"/>
            <a:ext cx="12192000" cy="540000"/>
          </a:xfrm>
          <a:prstGeom prst="rect">
            <a:avLst/>
          </a:prstGeom>
          <a:solidFill>
            <a:schemeClr val="tx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标题 1">
            <a:extLst>
              <a:ext uri="{FF2B5EF4-FFF2-40B4-BE49-F238E27FC236}">
                <a16:creationId xmlns:a16="http://schemas.microsoft.com/office/drawing/2014/main" id="{145F71F5-0EA8-49C4-BFD4-922A88F0B9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708" y="260710"/>
            <a:ext cx="8229600" cy="504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baseline="0">
                <a:solidFill>
                  <a:schemeClr val="bg1"/>
                </a:solidFill>
                <a:latin typeface="Helvetica" panose="020B060402020202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pic>
        <p:nvPicPr>
          <p:cNvPr id="6" name="图片 5" descr="图片包含 游戏机, 画&#10;&#10;描述已自动生成">
            <a:extLst>
              <a:ext uri="{FF2B5EF4-FFF2-40B4-BE49-F238E27FC236}">
                <a16:creationId xmlns:a16="http://schemas.microsoft.com/office/drawing/2014/main" id="{61D5F3A9-E87D-446F-A817-9D303611C0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236" y="331362"/>
            <a:ext cx="1155863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0244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图片 15" descr="图片包含 天空, 户外, 地图, 文字&#10;&#10;描述已自动生成">
            <a:extLst>
              <a:ext uri="{FF2B5EF4-FFF2-40B4-BE49-F238E27FC236}">
                <a16:creationId xmlns:a16="http://schemas.microsoft.com/office/drawing/2014/main" id="{6E2B0484-8F45-4FD8-80FF-B2EC486359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" y="0"/>
            <a:ext cx="12192005" cy="6858000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AB9D062E-8B08-4958-8C59-0B3FF37F5E82}"/>
              </a:ext>
            </a:extLst>
          </p:cNvPr>
          <p:cNvSpPr/>
          <p:nvPr userDrawn="1"/>
        </p:nvSpPr>
        <p:spPr>
          <a:xfrm>
            <a:off x="-1" y="1756138"/>
            <a:ext cx="10425181" cy="3120662"/>
          </a:xfrm>
          <a:prstGeom prst="rect">
            <a:avLst/>
          </a:prstGeom>
          <a:solidFill>
            <a:srgbClr val="404A4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9072BA04-62E7-4388-99CC-3C04A4E91B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02813" y="2701351"/>
            <a:ext cx="9144000" cy="720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600" baseline="0">
                <a:solidFill>
                  <a:schemeClr val="bg1"/>
                </a:solidFill>
                <a:latin typeface="Helvetica" panose="020B060402020202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419A413F-C500-4EBE-98BD-641779B70C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02813" y="3602038"/>
            <a:ext cx="9144000" cy="360000"/>
          </a:xfrm>
        </p:spPr>
        <p:txBody>
          <a:bodyPr>
            <a:normAutofit/>
          </a:bodyPr>
          <a:lstStyle>
            <a:lvl1pPr marL="0" indent="0" algn="l">
              <a:buNone/>
              <a:defRPr sz="2000" baseline="0">
                <a:solidFill>
                  <a:schemeClr val="bg1"/>
                </a:solidFill>
                <a:latin typeface="Helvetica" panose="020B0604020202020204" pitchFamily="34" charset="0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A9BCACC8-8595-45C0-B4EC-3F4403801961}"/>
              </a:ext>
            </a:extLst>
          </p:cNvPr>
          <p:cNvSpPr/>
          <p:nvPr userDrawn="1"/>
        </p:nvSpPr>
        <p:spPr>
          <a:xfrm>
            <a:off x="10425183" y="1756138"/>
            <a:ext cx="1766817" cy="3120662"/>
          </a:xfrm>
          <a:prstGeom prst="rect">
            <a:avLst/>
          </a:prstGeom>
          <a:solidFill>
            <a:schemeClr val="bg2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A7A973F7-1770-4E0B-8692-07A6718E0706}"/>
              </a:ext>
            </a:extLst>
          </p:cNvPr>
          <p:cNvCxnSpPr/>
          <p:nvPr userDrawn="1"/>
        </p:nvCxnSpPr>
        <p:spPr>
          <a:xfrm>
            <a:off x="2492302" y="3431861"/>
            <a:ext cx="6840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图片 8" descr="图片包含 游戏机, 画&#10;&#10;描述已自动生成">
            <a:extLst>
              <a:ext uri="{FF2B5EF4-FFF2-40B4-BE49-F238E27FC236}">
                <a16:creationId xmlns:a16="http://schemas.microsoft.com/office/drawing/2014/main" id="{19A6B6DB-6B95-4EF0-B4DC-0EEE5BFA890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778" y="3093202"/>
            <a:ext cx="2074046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5931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D9349DB-291B-43D9-AEC1-08B1D353ED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7E81D03-5814-4C5B-B145-4E575068E3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6FDD739-9166-4AA6-8935-F2B42B6440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E3C5D-0D7A-4217-9D07-9555E7FF7846}" type="datetimeFigureOut">
              <a:rPr lang="zh-CN" altLang="en-US" smtClean="0"/>
              <a:t>2020/7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C988B0C-6CE5-4D0D-8041-204CFC42D9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760AE06-4B43-4D58-8BF8-AAADA539F1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1CA3-913A-4FDA-BEF8-87B203EC96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29057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531E2E-7D77-4A43-8A0A-4768143D0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DD124F9-CC2F-4A27-B149-56BDFCAAC7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7DC16520-C2D0-4360-B3E7-7AA9FD9E1E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F13D2E3C-1EE7-4391-B9E9-6589E4DE70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E3C5D-0D7A-4217-9D07-9555E7FF7846}" type="datetimeFigureOut">
              <a:rPr lang="zh-CN" altLang="en-US" smtClean="0"/>
              <a:t>2020/7/1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5F70FB2D-1B02-42B3-BA2D-956624F294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82AFF184-7F4B-443B-B561-1816622BE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1CA3-913A-4FDA-BEF8-87B203EC96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85445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97D9470-3053-42EF-BAEA-D98A848298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200FD8E-D9CB-4B19-8AAA-0812780333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0597E16F-333B-46A0-A253-368502F3F44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C11723A7-AC8F-4907-894E-8692A7D43F0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E833F272-5100-4218-8131-84945B8C7C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6990011C-0984-4532-AD7B-AE9A82FEF3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E3C5D-0D7A-4217-9D07-9555E7FF7846}" type="datetimeFigureOut">
              <a:rPr lang="zh-CN" altLang="en-US" smtClean="0"/>
              <a:t>2020/7/14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C6E5B43C-DD60-477B-A45B-A4EB6BB33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91A7B086-8FFD-4A74-8B00-21A89C2F0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1CA3-913A-4FDA-BEF8-87B203EC96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752363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1400736-3C12-4B24-B9E9-FE216F02B4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A2F97751-6671-4E59-A704-BFC3B0A0F7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E3C5D-0D7A-4217-9D07-9555E7FF7846}" type="datetimeFigureOut">
              <a:rPr lang="zh-CN" altLang="en-US" smtClean="0"/>
              <a:t>2020/7/1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A71383D8-49B7-4D8C-A3D2-6278E4A5AE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1C5A7518-082F-493E-90F7-06C1F6172E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1CA3-913A-4FDA-BEF8-87B203EC96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991213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33E5982F-77DD-4E03-9F05-AF1B0C9A45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E3C5D-0D7A-4217-9D07-9555E7FF7846}" type="datetimeFigureOut">
              <a:rPr lang="zh-CN" altLang="en-US" smtClean="0"/>
              <a:t>2020/7/14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300BCE8-8917-4602-8B41-EA38F321D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07EFD98-B1F9-43E1-9A55-788C1522B9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1CA3-913A-4FDA-BEF8-87B203EC96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735898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E1CFC7F-F4AA-4299-AC64-1306F436F7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0C4969D8-ED07-4524-A54C-C21E4635FA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976F7BC6-BBF0-49E7-B75F-02B15E9BEB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27A85AA0-ADCE-49A7-960B-7ADF33A61C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E3C5D-0D7A-4217-9D07-9555E7FF7846}" type="datetimeFigureOut">
              <a:rPr lang="zh-CN" altLang="en-US" smtClean="0"/>
              <a:t>2020/7/1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A7D59913-3C78-4FAF-BA12-810FFDFC0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DC684CBB-D295-4452-9F27-7CADBBFA93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1CA3-913A-4FDA-BEF8-87B203EC96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11071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548D6B9-567A-46DE-879F-33D2454EF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6A614A68-47A3-417E-965F-D7063FEC95C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930E94FB-6DA2-4760-9EEC-F4BE4FD755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C343336-447F-4B0C-A3AF-7CE6B42081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E3C5D-0D7A-4217-9D07-9555E7FF7846}" type="datetimeFigureOut">
              <a:rPr lang="zh-CN" altLang="en-US" smtClean="0"/>
              <a:t>2020/7/1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AC1D9E5F-5565-4A38-BAE9-FC8EEE9274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21E0585-6AC9-4A91-AE33-E6676BBC0B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1CA3-913A-4FDA-BEF8-87B203EC96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990684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A6C4974-BB61-45E1-B66E-1AEA523CD4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3D5DC86B-6BDF-4C60-9BB5-62F8B45317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7913C80-9CE9-4607-BA36-06CA2C154F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E3C5D-0D7A-4217-9D07-9555E7FF7846}" type="datetimeFigureOut">
              <a:rPr lang="zh-CN" altLang="en-US" smtClean="0"/>
              <a:t>2020/7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B99D6D8-8067-473D-AC8B-F20B8E528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8C6A480-F3D5-44CE-BE63-4C7D92FE9B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1CA3-913A-4FDA-BEF8-87B203EC96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089268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CB52BB86-3033-4010-846B-C7F1AD8A84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4DCE5D93-A3F6-4610-945E-363D0B97F3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1A94A01-4570-4CFB-B74C-542572535D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E3C5D-0D7A-4217-9D07-9555E7FF7846}" type="datetimeFigureOut">
              <a:rPr lang="zh-CN" altLang="en-US" smtClean="0"/>
              <a:t>2020/7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FA53168-8C2B-4B0E-A449-EC14278B37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0C776BF-4ED4-4660-8BA9-1D54643224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1CA3-913A-4FDA-BEF8-87B203EC96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9693694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6" y="7318"/>
            <a:ext cx="10515600" cy="53772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6" y="789567"/>
            <a:ext cx="10515600" cy="53873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8ECB5D-ECAB-4A60-B5C5-7D2C9FD4F4D4}" type="datetime1">
              <a:rPr lang="en-US" smtClean="0"/>
              <a:t>7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EE4E07-0846-485A-9B60-03AA64871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80872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bg>
      <p:bgPr>
        <a:solidFill>
          <a:schemeClr val="bg1">
            <a:lumMod val="85000"/>
            <a:alpha val="2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8C3D183-2FD0-44AE-919A-B6DE19D7A8AD}"/>
              </a:ext>
            </a:extLst>
          </p:cNvPr>
          <p:cNvSpPr/>
          <p:nvPr userDrawn="1"/>
        </p:nvSpPr>
        <p:spPr>
          <a:xfrm>
            <a:off x="0" y="221382"/>
            <a:ext cx="12192000" cy="540000"/>
          </a:xfrm>
          <a:prstGeom prst="rect">
            <a:avLst/>
          </a:prstGeom>
          <a:solidFill>
            <a:schemeClr val="tx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标题 1">
            <a:extLst>
              <a:ext uri="{FF2B5EF4-FFF2-40B4-BE49-F238E27FC236}">
                <a16:creationId xmlns:a16="http://schemas.microsoft.com/office/drawing/2014/main" id="{145F71F5-0EA8-49C4-BFD4-922A88F0B9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708" y="260710"/>
            <a:ext cx="8229600" cy="504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baseline="0">
                <a:solidFill>
                  <a:schemeClr val="bg1"/>
                </a:solidFill>
                <a:latin typeface="Helvetica" panose="020B060402020202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pic>
        <p:nvPicPr>
          <p:cNvPr id="3" name="图片 2" descr="图片包含 游戏机, 画&#10;&#10;描述已自动生成">
            <a:extLst>
              <a:ext uri="{FF2B5EF4-FFF2-40B4-BE49-F238E27FC236}">
                <a16:creationId xmlns:a16="http://schemas.microsoft.com/office/drawing/2014/main" id="{A047B5E5-9920-417C-90F5-1285758C94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2881" y="350710"/>
            <a:ext cx="1037023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9190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5594DE2F-11F4-4DE1-B5C9-C1D34AE2CC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91008478-9D95-4021-B47D-E48B35310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3" y="223232"/>
            <a:ext cx="10850563" cy="540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aseline="0">
                <a:latin typeface="Helvetica" panose="020B060402020202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B42EF26-190A-4135-A6C0-CE04798EAB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9924" y="1157033"/>
            <a:ext cx="10683876" cy="4351338"/>
          </a:xfrm>
        </p:spPr>
        <p:txBody>
          <a:bodyPr/>
          <a:lstStyle>
            <a:lvl1pPr>
              <a:defRPr baseline="0">
                <a:latin typeface="Helvetica" panose="020B060402020202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Helvetica" panose="020B0604020202020204" pitchFamily="34" charset="0"/>
                <a:ea typeface="微软雅黑" panose="020B0503020204020204" pitchFamily="34" charset="-122"/>
              </a:defRPr>
            </a:lvl2pPr>
            <a:lvl3pPr>
              <a:defRPr baseline="0">
                <a:latin typeface="Helvetica" panose="020B060402020202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Helvetica" panose="020B060402020202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Helvetica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F29A9BDD-48A1-4FE0-B24A-EDF579655BB9}"/>
              </a:ext>
            </a:extLst>
          </p:cNvPr>
          <p:cNvCxnSpPr/>
          <p:nvPr userDrawn="1"/>
        </p:nvCxnSpPr>
        <p:spPr>
          <a:xfrm>
            <a:off x="669924" y="763231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图片 9">
            <a:extLst>
              <a:ext uri="{FF2B5EF4-FFF2-40B4-BE49-F238E27FC236}">
                <a16:creationId xmlns:a16="http://schemas.microsoft.com/office/drawing/2014/main" id="{DF21A23E-C33C-4C80-85FA-39525D2B80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297" y="277232"/>
            <a:ext cx="1151189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9377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chemeClr val="bg1">
            <a:alpha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12F876C-050E-43D5-92BE-06B01E8D2C4A}"/>
              </a:ext>
            </a:extLst>
          </p:cNvPr>
          <p:cNvSpPr/>
          <p:nvPr userDrawn="1"/>
        </p:nvSpPr>
        <p:spPr>
          <a:xfrm>
            <a:off x="0" y="730068"/>
            <a:ext cx="12192000" cy="6127927"/>
          </a:xfrm>
          <a:prstGeom prst="rect">
            <a:avLst/>
          </a:prstGeom>
          <a:blipFill dpi="0" rotWithShape="1">
            <a:blip r:embed="rId2">
              <a:alphaModFix amt="5000"/>
            </a:blip>
            <a:srcRect/>
            <a:tile tx="0" ty="0" sx="100000" sy="100000" flip="xy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DE3C50F-5BB0-4781-9DDE-D9B49E9DD62B}"/>
              </a:ext>
            </a:extLst>
          </p:cNvPr>
          <p:cNvSpPr/>
          <p:nvPr userDrawn="1"/>
        </p:nvSpPr>
        <p:spPr>
          <a:xfrm>
            <a:off x="0" y="693174"/>
            <a:ext cx="12192000" cy="6164822"/>
          </a:xfrm>
          <a:prstGeom prst="rect">
            <a:avLst/>
          </a:prstGeom>
          <a:solidFill>
            <a:schemeClr val="bg1">
              <a:lumMod val="8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5B01D31-D332-4DAD-B69C-04FCE7108512}"/>
              </a:ext>
            </a:extLst>
          </p:cNvPr>
          <p:cNvCxnSpPr>
            <a:cxnSpLocks/>
          </p:cNvCxnSpPr>
          <p:nvPr userDrawn="1"/>
        </p:nvCxnSpPr>
        <p:spPr>
          <a:xfrm>
            <a:off x="0" y="693174"/>
            <a:ext cx="12192000" cy="0"/>
          </a:xfrm>
          <a:prstGeom prst="line">
            <a:avLst/>
          </a:prstGeom>
          <a:ln w="31750" cmpd="dbl">
            <a:solidFill>
              <a:srgbClr val="002060">
                <a:alpha val="86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5B832780-7083-42E4-9E2E-2D28E262ECC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9774" y="190750"/>
            <a:ext cx="1661390" cy="46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3012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57493" y="372358"/>
            <a:ext cx="10972800" cy="724103"/>
          </a:xfrm>
        </p:spPr>
        <p:txBody>
          <a:bodyPr/>
          <a:lstStyle>
            <a:lvl1pPr>
              <a:defRPr sz="2400" b="1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53419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D9349DB-291B-43D9-AEC1-08B1D353ED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7E81D03-5814-4C5B-B145-4E575068E3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6FDD739-9166-4AA6-8935-F2B42B6440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E3C5D-0D7A-4217-9D07-9555E7FF7846}" type="datetimeFigureOut">
              <a:rPr lang="zh-CN" altLang="en-US" smtClean="0"/>
              <a:t>2020/7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C988B0C-6CE5-4D0D-8041-204CFC42D9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760AE06-4B43-4D58-8BF8-AAADA539F1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1CA3-913A-4FDA-BEF8-87B203EC96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052523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531E2E-7D77-4A43-8A0A-4768143D0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DD124F9-CC2F-4A27-B149-56BDFCAAC7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7DC16520-C2D0-4360-B3E7-7AA9FD9E1E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F13D2E3C-1EE7-4391-B9E9-6589E4DE70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E3C5D-0D7A-4217-9D07-9555E7FF7846}" type="datetimeFigureOut">
              <a:rPr lang="zh-CN" altLang="en-US" smtClean="0"/>
              <a:t>2020/7/1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5F70FB2D-1B02-42B3-BA2D-956624F294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82AFF184-7F4B-443B-B561-1816622BE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1CA3-913A-4FDA-BEF8-87B203EC96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55885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97D9470-3053-42EF-BAEA-D98A848298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200FD8E-D9CB-4B19-8AAA-0812780333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0597E16F-333B-46A0-A253-368502F3F44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C11723A7-AC8F-4907-894E-8692A7D43F0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E833F272-5100-4218-8131-84945B8C7C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6990011C-0984-4532-AD7B-AE9A82FEF3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E3C5D-0D7A-4217-9D07-9555E7FF7846}" type="datetimeFigureOut">
              <a:rPr lang="zh-CN" altLang="en-US" smtClean="0"/>
              <a:t>2020/7/14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C6E5B43C-DD60-477B-A45B-A4EB6BB33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91A7B086-8FFD-4A74-8B00-21A89C2F0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1CA3-913A-4FDA-BEF8-87B203EC96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288771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1400736-3C12-4B24-B9E9-FE216F02B4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A2F97751-6671-4E59-A704-BFC3B0A0F7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E3C5D-0D7A-4217-9D07-9555E7FF7846}" type="datetimeFigureOut">
              <a:rPr lang="zh-CN" altLang="en-US" smtClean="0"/>
              <a:t>2020/7/1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A71383D8-49B7-4D8C-A3D2-6278E4A5AE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1C5A7518-082F-493E-90F7-06C1F6172E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1CA3-913A-4FDA-BEF8-87B203EC96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397751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33E5982F-77DD-4E03-9F05-AF1B0C9A45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E3C5D-0D7A-4217-9D07-9555E7FF7846}" type="datetimeFigureOut">
              <a:rPr lang="zh-CN" altLang="en-US" smtClean="0"/>
              <a:t>2020/7/14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300BCE8-8917-4602-8B41-EA38F321D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07EFD98-B1F9-43E1-9A55-788C1522B9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1CA3-913A-4FDA-BEF8-87B203EC96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23930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E1CFC7F-F4AA-4299-AC64-1306F436F7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0C4969D8-ED07-4524-A54C-C21E4635FA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976F7BC6-BBF0-49E7-B75F-02B15E9BEB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27A85AA0-ADCE-49A7-960B-7ADF33A61C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E3C5D-0D7A-4217-9D07-9555E7FF7846}" type="datetimeFigureOut">
              <a:rPr lang="zh-CN" altLang="en-US" smtClean="0"/>
              <a:t>2020/7/1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A7D59913-3C78-4FAF-BA12-810FFDFC0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DC684CBB-D295-4452-9F27-7CADBBFA93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E1CA3-913A-4FDA-BEF8-87B203EC96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920078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012D8E1B-9EBE-4832-97FE-C617508847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DA96D6F-8527-40B3-89CC-4C2CAA2F82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5B8C266-A425-4EF7-BE26-FEB8BCBF9D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0E3C5D-0D7A-4217-9D07-9555E7FF7846}" type="datetimeFigureOut">
              <a:rPr lang="zh-CN" altLang="en-US" smtClean="0"/>
              <a:t>2020/7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5D1BDB8-79F5-4FB6-A10B-09A01C0E34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45A0957-F07F-490A-ACAF-80E5FC91F4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EE1CA3-913A-4FDA-BEF8-87B203EC96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96358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2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012D8E1B-9EBE-4832-97FE-C617508847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DA96D6F-8527-40B3-89CC-4C2CAA2F82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5B8C266-A425-4EF7-BE26-FEB8BCBF9D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0E3C5D-0D7A-4217-9D07-9555E7FF7846}" type="datetimeFigureOut">
              <a:rPr lang="zh-CN" altLang="en-US" smtClean="0"/>
              <a:t>2020/7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5D1BDB8-79F5-4FB6-A10B-09A01C0E34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45A0957-F07F-490A-ACAF-80E5FC91F4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EE1CA3-913A-4FDA-BEF8-87B203EC96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19312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5" Type="http://schemas.openxmlformats.org/officeDocument/2006/relationships/image" Target="../media/image10.png"/><Relationship Id="rId4" Type="http://schemas.openxmlformats.org/officeDocument/2006/relationships/image" Target="../media/image9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7F4ED6E-93F7-4A94-938A-28514A6385D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b="1" dirty="0"/>
              <a:t>依瞳人工智能平台</a:t>
            </a:r>
            <a:br>
              <a:rPr lang="en-US" altLang="zh-CN" b="1" dirty="0"/>
            </a:br>
            <a:r>
              <a:rPr lang="zh-CN" altLang="en-US" b="1" dirty="0"/>
              <a:t>用户使用演示</a:t>
            </a:r>
            <a:endParaRPr lang="zh-CN" altLang="en-US" b="1" dirty="0">
              <a:solidFill>
                <a:schemeClr val="bg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625CE380-7CE1-45D6-B77E-82CCFE9DC50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2020/07/14</a:t>
            </a:r>
            <a:endParaRPr lang="zh-CN" altLang="en-US" dirty="0">
              <a:solidFill>
                <a:schemeClr val="bg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984790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94FE7D1-42AF-46DC-98EC-896B4BEEA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Manager Job </a:t>
            </a:r>
            <a:r>
              <a:rPr lang="en-US" altLang="zh-CN" sz="1200" dirty="0" err="1"/>
              <a:t>Job</a:t>
            </a:r>
            <a:r>
              <a:rPr lang="en-US" altLang="zh-CN" sz="1200" dirty="0"/>
              <a:t> log</a:t>
            </a:r>
            <a:endParaRPr lang="zh-CN" altLang="en-US" sz="1200" dirty="0"/>
          </a:p>
        </p:txBody>
      </p:sp>
      <p:pic>
        <p:nvPicPr>
          <p:cNvPr id="3" name="内容占位符 4">
            <a:extLst>
              <a:ext uri="{FF2B5EF4-FFF2-40B4-BE49-F238E27FC236}">
                <a16:creationId xmlns:a16="http://schemas.microsoft.com/office/drawing/2014/main" id="{9E7BEA89-A25D-49AC-88DD-D099440977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7882" y="1245901"/>
            <a:ext cx="10186388" cy="4173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6896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6369BB6-2864-4D91-A17E-6F007D6864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Manager Job  </a:t>
            </a:r>
            <a:r>
              <a:rPr lang="en-US" altLang="zh-CN" sz="1200" dirty="0" err="1"/>
              <a:t>Job</a:t>
            </a:r>
            <a:r>
              <a:rPr lang="en-US" altLang="zh-CN" sz="1200" dirty="0"/>
              <a:t> </a:t>
            </a:r>
            <a:r>
              <a:rPr lang="en-US" altLang="zh-CN" sz="1200" dirty="0" err="1"/>
              <a:t>Montior</a:t>
            </a:r>
            <a:endParaRPr lang="zh-CN" altLang="en-US" sz="1200" dirty="0"/>
          </a:p>
        </p:txBody>
      </p:sp>
      <p:pic>
        <p:nvPicPr>
          <p:cNvPr id="3" name="内容占位符 4">
            <a:extLst>
              <a:ext uri="{FF2B5EF4-FFF2-40B4-BE49-F238E27FC236}">
                <a16:creationId xmlns:a16="http://schemas.microsoft.com/office/drawing/2014/main" id="{8756475C-B670-49C5-A511-DA1DB164D9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1120" y="1203315"/>
            <a:ext cx="9509760" cy="5052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4218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D5347C2-FC80-4D3E-ABBF-B51F2DF8F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用户管理 </a:t>
            </a:r>
            <a:r>
              <a:rPr lang="zh-CN" altLang="en-US" sz="1200" dirty="0"/>
              <a:t>用户，用户组，角色</a:t>
            </a:r>
          </a:p>
        </p:txBody>
      </p:sp>
      <p:pic>
        <p:nvPicPr>
          <p:cNvPr id="3" name="内容占位符 4">
            <a:extLst>
              <a:ext uri="{FF2B5EF4-FFF2-40B4-BE49-F238E27FC236}">
                <a16:creationId xmlns:a16="http://schemas.microsoft.com/office/drawing/2014/main" id="{315C5CBF-98D2-429B-BA47-FBE407DE68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7680" y="1270690"/>
            <a:ext cx="10496640" cy="4027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587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Down Arrow 7">
            <a:extLst>
              <a:ext uri="{FF2B5EF4-FFF2-40B4-BE49-F238E27FC236}">
                <a16:creationId xmlns:a16="http://schemas.microsoft.com/office/drawing/2014/main" id="{B547373F-AF2E-4907-B442-9F902B387F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0100" y="-4763"/>
            <a:ext cx="3333749" cy="3338514"/>
          </a:xfrm>
          <a:prstGeom prst="downArrow">
            <a:avLst>
              <a:gd name="adj1" fmla="val 100000"/>
              <a:gd name="adj2" fmla="val 26890"/>
            </a:avLst>
          </a:prstGeom>
          <a:solidFill>
            <a:schemeClr val="tx1">
              <a:lumMod val="85000"/>
              <a:lumOff val="15000"/>
            </a:schemeClr>
          </a:solidFill>
          <a:ln w="539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1B9AAAF6-28B6-48AF-8577-45C694546EAE}"/>
              </a:ext>
            </a:extLst>
          </p:cNvPr>
          <p:cNvSpPr txBox="1"/>
          <p:nvPr/>
        </p:nvSpPr>
        <p:spPr>
          <a:xfrm>
            <a:off x="1028700" y="190501"/>
            <a:ext cx="2886075" cy="248602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fontAlgn="auto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zh-CN" altLang="en-US" sz="3600" b="1" i="0" u="none" strike="noStrike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谢谢观看！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81F15DBE-1690-4D27-A337-0875080ECD54}"/>
              </a:ext>
            </a:extLst>
          </p:cNvPr>
          <p:cNvSpPr/>
          <p:nvPr/>
        </p:nvSpPr>
        <p:spPr>
          <a:xfrm>
            <a:off x="4576649" y="3656457"/>
            <a:ext cx="503743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600" dirty="0"/>
              <a:t>Question And Talk.</a:t>
            </a:r>
          </a:p>
          <a:p>
            <a:r>
              <a:rPr lang="zh-CN" altLang="en-US" sz="2000" dirty="0"/>
              <a:t>平台操作演示 </a:t>
            </a:r>
            <a:r>
              <a:rPr lang="en-US" altLang="zh-CN" sz="2000" dirty="0"/>
              <a:t>…</a:t>
            </a: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3333350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1FD75A-3CCF-4DF7-97A5-E70DEB8366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平台使用的关键术语</a:t>
            </a:r>
          </a:p>
        </p:txBody>
      </p:sp>
      <p:grpSp>
        <p:nvGrpSpPr>
          <p:cNvPr id="55" name="#33195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E5882D0-B698-44C0-8C0D-7447AF6B040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-3950" y="758283"/>
            <a:ext cx="4843220" cy="6099718"/>
            <a:chOff x="-3949" y="771706"/>
            <a:chExt cx="4762823" cy="6099718"/>
          </a:xfrm>
        </p:grpSpPr>
        <p:sp>
          <p:nvSpPr>
            <p:cNvPr id="56" name="îś1iḋé">
              <a:extLst>
                <a:ext uri="{FF2B5EF4-FFF2-40B4-BE49-F238E27FC236}">
                  <a16:creationId xmlns:a16="http://schemas.microsoft.com/office/drawing/2014/main" id="{D1F3ED87-08FF-4AF2-8143-FA148A0A387E}"/>
                </a:ext>
              </a:extLst>
            </p:cNvPr>
            <p:cNvSpPr/>
            <p:nvPr/>
          </p:nvSpPr>
          <p:spPr bwMode="auto">
            <a:xfrm>
              <a:off x="19926" y="778133"/>
              <a:ext cx="4738948" cy="6093290"/>
            </a:xfrm>
            <a:custGeom>
              <a:avLst/>
              <a:gdLst>
                <a:gd name="connsiteX0" fmla="*/ 0 w 5093219"/>
                <a:gd name="connsiteY0" fmla="*/ 0 h 6858000"/>
                <a:gd name="connsiteX1" fmla="*/ 3107044 w 5093219"/>
                <a:gd name="connsiteY1" fmla="*/ 0 h 6858000"/>
                <a:gd name="connsiteX2" fmla="*/ 3126069 w 5093219"/>
                <a:gd name="connsiteY2" fmla="*/ 10939 h 6858000"/>
                <a:gd name="connsiteX3" fmla="*/ 5093219 w 5093219"/>
                <a:gd name="connsiteY3" fmla="*/ 3505200 h 6858000"/>
                <a:gd name="connsiteX4" fmla="*/ 3452030 w 5093219"/>
                <a:gd name="connsiteY4" fmla="*/ 6779274 h 6858000"/>
                <a:gd name="connsiteX5" fmla="*/ 3341322 w 5093219"/>
                <a:gd name="connsiteY5" fmla="*/ 6858000 h 6858000"/>
                <a:gd name="connsiteX6" fmla="*/ 0 w 5093219"/>
                <a:gd name="connsiteY6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93219" h="6858000">
                  <a:moveTo>
                    <a:pt x="0" y="0"/>
                  </a:moveTo>
                  <a:lnTo>
                    <a:pt x="3107044" y="0"/>
                  </a:lnTo>
                  <a:lnTo>
                    <a:pt x="3126069" y="10939"/>
                  </a:lnTo>
                  <a:cubicBezTo>
                    <a:pt x="4305422" y="727531"/>
                    <a:pt x="5093219" y="2024365"/>
                    <a:pt x="5093219" y="3505200"/>
                  </a:cubicBezTo>
                  <a:cubicBezTo>
                    <a:pt x="5093219" y="4845003"/>
                    <a:pt x="4448333" y="6034184"/>
                    <a:pt x="3452030" y="6779274"/>
                  </a:cubicBezTo>
                  <a:lnTo>
                    <a:pt x="334132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 defTabSz="913765"/>
              <a:endParaRPr lang="zh-CN" altLang="en-US" sz="2000" b="1">
                <a:solidFill>
                  <a:schemeClr val="bg1"/>
                </a:solidFill>
              </a:endParaRPr>
            </a:p>
          </p:txBody>
        </p:sp>
        <p:sp>
          <p:nvSpPr>
            <p:cNvPr id="57" name="ïşḷiḑè">
              <a:extLst>
                <a:ext uri="{FF2B5EF4-FFF2-40B4-BE49-F238E27FC236}">
                  <a16:creationId xmlns:a16="http://schemas.microsoft.com/office/drawing/2014/main" id="{DA942295-C8B9-4CBA-B2CA-D38B6FA103D5}"/>
                </a:ext>
              </a:extLst>
            </p:cNvPr>
            <p:cNvSpPr/>
            <p:nvPr/>
          </p:nvSpPr>
          <p:spPr bwMode="auto">
            <a:xfrm>
              <a:off x="-3949" y="771706"/>
              <a:ext cx="4359805" cy="6099718"/>
            </a:xfrm>
            <a:custGeom>
              <a:avLst/>
              <a:gdLst>
                <a:gd name="connsiteX0" fmla="*/ 0 w 5093219"/>
                <a:gd name="connsiteY0" fmla="*/ 0 h 6858000"/>
                <a:gd name="connsiteX1" fmla="*/ 3107044 w 5093219"/>
                <a:gd name="connsiteY1" fmla="*/ 0 h 6858000"/>
                <a:gd name="connsiteX2" fmla="*/ 3126069 w 5093219"/>
                <a:gd name="connsiteY2" fmla="*/ 10939 h 6858000"/>
                <a:gd name="connsiteX3" fmla="*/ 5093219 w 5093219"/>
                <a:gd name="connsiteY3" fmla="*/ 3505200 h 6858000"/>
                <a:gd name="connsiteX4" fmla="*/ 3452030 w 5093219"/>
                <a:gd name="connsiteY4" fmla="*/ 6779274 h 6858000"/>
                <a:gd name="connsiteX5" fmla="*/ 3341322 w 5093219"/>
                <a:gd name="connsiteY5" fmla="*/ 6858000 h 6858000"/>
                <a:gd name="connsiteX6" fmla="*/ 0 w 5093219"/>
                <a:gd name="connsiteY6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93219" h="6858000">
                  <a:moveTo>
                    <a:pt x="0" y="0"/>
                  </a:moveTo>
                  <a:lnTo>
                    <a:pt x="3107044" y="0"/>
                  </a:lnTo>
                  <a:lnTo>
                    <a:pt x="3126069" y="10939"/>
                  </a:lnTo>
                  <a:cubicBezTo>
                    <a:pt x="4305422" y="727531"/>
                    <a:pt x="5093219" y="2024365"/>
                    <a:pt x="5093219" y="3505200"/>
                  </a:cubicBezTo>
                  <a:cubicBezTo>
                    <a:pt x="5093219" y="4845003"/>
                    <a:pt x="4448333" y="6034184"/>
                    <a:pt x="3452030" y="6779274"/>
                  </a:cubicBezTo>
                  <a:lnTo>
                    <a:pt x="3341322" y="6858000"/>
                  </a:lnTo>
                  <a:lnTo>
                    <a:pt x="0" y="6858000"/>
                  </a:lnTo>
                  <a:close/>
                </a:path>
              </a:pathLst>
            </a:custGeom>
            <a:blipFill>
              <a:blip r:embed="rId4"/>
              <a:stretch>
                <a:fillRect l="-51114" r="-50860"/>
              </a:stretch>
            </a:blipFill>
            <a:ln w="381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</p:grpSp>
      <p:pic>
        <p:nvPicPr>
          <p:cNvPr id="29" name="内容占位符 4">
            <a:extLst>
              <a:ext uri="{FF2B5EF4-FFF2-40B4-BE49-F238E27FC236}">
                <a16:creationId xmlns:a16="http://schemas.microsoft.com/office/drawing/2014/main" id="{7802535A-6E77-420E-8196-2B3DD05B79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43879" y="1268710"/>
            <a:ext cx="7315200" cy="4673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0778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F0754EBA-0931-4535-AD51-0D3ECFB613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平台状态概览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68CA550-781A-4C10-88CB-B234EBF6D0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0183" y="1236372"/>
            <a:ext cx="5798026" cy="562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0275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75121F8-687D-46FA-9BE8-7FA983195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Virtual Cluster </a:t>
            </a:r>
            <a:r>
              <a:rPr lang="zh-CN" altLang="en-US" sz="1200" dirty="0"/>
              <a:t>虚拟集群，用于用户组，和 用户组资源管理</a:t>
            </a:r>
            <a:r>
              <a:rPr lang="zh-CN" altLang="en-US" dirty="0"/>
              <a:t>。</a:t>
            </a:r>
          </a:p>
        </p:txBody>
      </p:sp>
      <p:pic>
        <p:nvPicPr>
          <p:cNvPr id="6" name="内容占位符 4">
            <a:extLst>
              <a:ext uri="{FF2B5EF4-FFF2-40B4-BE49-F238E27FC236}">
                <a16:creationId xmlns:a16="http://schemas.microsoft.com/office/drawing/2014/main" id="{99BCDDC1-7CD2-453F-9C0B-5ABAA7F0AF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5676" y="1187904"/>
            <a:ext cx="10900647" cy="4482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0704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ED90935-146B-47E8-820E-75CC889E37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4263" y="1280836"/>
            <a:ext cx="8324088" cy="2473356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31291E44-D77F-4123-B3E6-55A923C793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4263" y="3833938"/>
            <a:ext cx="8324088" cy="2611939"/>
          </a:xfrm>
          <a:prstGeom prst="rect">
            <a:avLst/>
          </a:prstGeom>
        </p:spPr>
      </p:pic>
      <p:sp>
        <p:nvSpPr>
          <p:cNvPr id="6" name="标题 5">
            <a:extLst>
              <a:ext uri="{FF2B5EF4-FFF2-40B4-BE49-F238E27FC236}">
                <a16:creationId xmlns:a16="http://schemas.microsoft.com/office/drawing/2014/main" id="{1AF0FD18-0B50-4EF7-8ADA-5D7CB80C4A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Cluster Status </a:t>
            </a:r>
            <a:r>
              <a:rPr lang="zh-CN" altLang="en-US" sz="1200" dirty="0"/>
              <a:t>虚拟集群资源使用状态，和</a:t>
            </a:r>
            <a:r>
              <a:rPr lang="en-US" altLang="zh-CN" sz="1200" dirty="0"/>
              <a:t>Job</a:t>
            </a:r>
            <a:r>
              <a:rPr lang="zh-CN" altLang="en-US" sz="1200" dirty="0"/>
              <a:t>状态</a:t>
            </a:r>
          </a:p>
        </p:txBody>
      </p:sp>
    </p:spTree>
    <p:extLst>
      <p:ext uri="{BB962C8B-B14F-4D97-AF65-F5344CB8AC3E}">
        <p14:creationId xmlns:p14="http://schemas.microsoft.com/office/powerpoint/2010/main" val="3964928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1AA78BB-1D38-4427-89B8-CD52205F17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Submit Training Job </a:t>
            </a:r>
            <a:r>
              <a:rPr lang="zh-CN" altLang="en-US" sz="1200" dirty="0"/>
              <a:t>提交</a:t>
            </a:r>
            <a:r>
              <a:rPr lang="en-US" altLang="zh-CN" sz="1200" dirty="0"/>
              <a:t>AI</a:t>
            </a:r>
            <a:r>
              <a:rPr lang="zh-CN" altLang="en-US" sz="1200" dirty="0"/>
              <a:t>训练任务</a:t>
            </a:r>
          </a:p>
        </p:txBody>
      </p:sp>
      <p:pic>
        <p:nvPicPr>
          <p:cNvPr id="3" name="内容占位符 4">
            <a:extLst>
              <a:ext uri="{FF2B5EF4-FFF2-40B4-BE49-F238E27FC236}">
                <a16:creationId xmlns:a16="http://schemas.microsoft.com/office/drawing/2014/main" id="{64EC6DD1-4E3B-4119-AD0D-0EA3E6055A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5619" y="1228547"/>
            <a:ext cx="9360761" cy="500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6949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377ABF5-E0EF-4017-ABFD-E23D54CBFD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View Jobs </a:t>
            </a:r>
            <a:r>
              <a:rPr lang="en-US" altLang="zh-CN" sz="1200" dirty="0"/>
              <a:t>AI </a:t>
            </a:r>
            <a:r>
              <a:rPr lang="zh-CN" altLang="en-US" sz="1200" dirty="0"/>
              <a:t>训练任务列表</a:t>
            </a:r>
          </a:p>
        </p:txBody>
      </p:sp>
      <p:pic>
        <p:nvPicPr>
          <p:cNvPr id="3" name="内容占位符 4">
            <a:extLst>
              <a:ext uri="{FF2B5EF4-FFF2-40B4-BE49-F238E27FC236}">
                <a16:creationId xmlns:a16="http://schemas.microsoft.com/office/drawing/2014/main" id="{44858BA9-7B78-4883-AA33-55B331E1E8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755" y="1248807"/>
            <a:ext cx="10440489" cy="4887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7981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7A53032-0D09-46A4-8161-4010EB56A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Manager Job </a:t>
            </a:r>
            <a:r>
              <a:rPr lang="en-US" altLang="zh-CN" sz="1200" dirty="0" err="1"/>
              <a:t>Job</a:t>
            </a:r>
            <a:r>
              <a:rPr lang="en-US" altLang="zh-CN" sz="1200" dirty="0"/>
              <a:t> </a:t>
            </a:r>
            <a:r>
              <a:rPr lang="zh-CN" altLang="en-US" sz="1200" dirty="0"/>
              <a:t>详情</a:t>
            </a:r>
          </a:p>
        </p:txBody>
      </p:sp>
      <p:pic>
        <p:nvPicPr>
          <p:cNvPr id="3" name="内容占位符 4">
            <a:extLst>
              <a:ext uri="{FF2B5EF4-FFF2-40B4-BE49-F238E27FC236}">
                <a16:creationId xmlns:a16="http://schemas.microsoft.com/office/drawing/2014/main" id="{DB2742F5-5330-473D-894C-E907A5F5F0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1933" y="1242811"/>
            <a:ext cx="9488134" cy="5127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994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15FC982-4354-44BC-BA10-8EC85E524C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Manager Job </a:t>
            </a:r>
            <a:r>
              <a:rPr lang="en-US" altLang="zh-CN" sz="1200" dirty="0"/>
              <a:t>SSH, </a:t>
            </a:r>
            <a:r>
              <a:rPr lang="en-US" altLang="zh-CN" sz="1200" dirty="0" err="1"/>
              <a:t>Jupyter</a:t>
            </a:r>
            <a:r>
              <a:rPr lang="en-US" altLang="zh-CN" sz="1200" dirty="0"/>
              <a:t> Lab</a:t>
            </a:r>
            <a:r>
              <a:rPr lang="zh-CN" altLang="en-US" sz="1200" dirty="0"/>
              <a:t>，</a:t>
            </a:r>
            <a:r>
              <a:rPr lang="en-US" altLang="zh-CN" sz="1200" dirty="0" err="1"/>
              <a:t>Tensorboard</a:t>
            </a:r>
            <a:endParaRPr lang="zh-CN" altLang="en-US" sz="1200" dirty="0"/>
          </a:p>
        </p:txBody>
      </p:sp>
      <p:pic>
        <p:nvPicPr>
          <p:cNvPr id="3" name="内容占位符 4">
            <a:extLst>
              <a:ext uri="{FF2B5EF4-FFF2-40B4-BE49-F238E27FC236}">
                <a16:creationId xmlns:a16="http://schemas.microsoft.com/office/drawing/2014/main" id="{6FE512FC-F0EA-42AD-B2B5-4D5FE142D4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7133" y="1241957"/>
            <a:ext cx="10237733" cy="4619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9007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331951"/>
</p:tagLst>
</file>

<file path=ppt/theme/theme1.xml><?xml version="1.0" encoding="utf-8"?>
<a:theme xmlns:a="http://schemas.openxmlformats.org/drawingml/2006/main" name="Office 主题​​">
  <a:themeElements>
    <a:clrScheme name="自定义 3">
      <a:dk1>
        <a:srgbClr val="404A4E"/>
      </a:dk1>
      <a:lt1>
        <a:sysClr val="window" lastClr="FFFFFF"/>
      </a:lt1>
      <a:dk2>
        <a:srgbClr val="313131"/>
      </a:dk2>
      <a:lt2>
        <a:srgbClr val="E7E6E6"/>
      </a:lt2>
      <a:accent1>
        <a:srgbClr val="0067B8"/>
      </a:accent1>
      <a:accent2>
        <a:srgbClr val="05A6F0"/>
      </a:accent2>
      <a:accent3>
        <a:srgbClr val="444444"/>
      </a:accent3>
      <a:accent4>
        <a:srgbClr val="77B900"/>
      </a:accent4>
      <a:accent5>
        <a:srgbClr val="F35325"/>
      </a:accent5>
      <a:accent6>
        <a:srgbClr val="FFBA08"/>
      </a:accent6>
      <a:hlink>
        <a:srgbClr val="0563C1"/>
      </a:hlink>
      <a:folHlink>
        <a:srgbClr val="954F72"/>
      </a:folHlink>
    </a:clrScheme>
    <a:fontScheme name="dsjvycju">
      <a:majorFont>
        <a:latin typeface="微软雅黑" panose="020F0302020204030204"/>
        <a:ea typeface="微软雅黑"/>
        <a:cs typeface=""/>
      </a:majorFont>
      <a:minorFont>
        <a:latin typeface="微软雅黑" panose="020F0502020204030204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​​">
  <a:themeElements>
    <a:clrScheme name="自定义 1">
      <a:dk1>
        <a:srgbClr val="404A4E"/>
      </a:dk1>
      <a:lt1>
        <a:sysClr val="window" lastClr="FFFFFF"/>
      </a:lt1>
      <a:dk2>
        <a:srgbClr val="313131"/>
      </a:dk2>
      <a:lt2>
        <a:srgbClr val="E7E6E6"/>
      </a:lt2>
      <a:accent1>
        <a:srgbClr val="0067B8"/>
      </a:accent1>
      <a:accent2>
        <a:srgbClr val="05A6F0"/>
      </a:accent2>
      <a:accent3>
        <a:srgbClr val="444444"/>
      </a:accent3>
      <a:accent4>
        <a:srgbClr val="81BC06"/>
      </a:accent4>
      <a:accent5>
        <a:srgbClr val="F35325"/>
      </a:accent5>
      <a:accent6>
        <a:srgbClr val="FFBA08"/>
      </a:accent6>
      <a:hlink>
        <a:srgbClr val="0563C1"/>
      </a:hlink>
      <a:folHlink>
        <a:srgbClr val="954F72"/>
      </a:folHlink>
    </a:clrScheme>
    <a:fontScheme name="ipfsor4z">
      <a:majorFont>
        <a:latin typeface="微软雅黑" panose="020F0302020204030204"/>
        <a:ea typeface="微软雅黑"/>
        <a:cs typeface=""/>
      </a:majorFont>
      <a:minorFont>
        <a:latin typeface="微软雅黑" panose="020F0502020204030204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976</TotalTime>
  <Words>96</Words>
  <Application>Microsoft Office PowerPoint</Application>
  <PresentationFormat>宽屏</PresentationFormat>
  <Paragraphs>18</Paragraphs>
  <Slides>13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21" baseType="lpstr">
      <vt:lpstr>等线</vt:lpstr>
      <vt:lpstr>微软雅黑</vt:lpstr>
      <vt:lpstr>Arial</vt:lpstr>
      <vt:lpstr>Calibri</vt:lpstr>
      <vt:lpstr>Helvetica</vt:lpstr>
      <vt:lpstr>Office 主题​​</vt:lpstr>
      <vt:lpstr>1_Office 主题​​</vt:lpstr>
      <vt:lpstr>think-cell Slide</vt:lpstr>
      <vt:lpstr>依瞳人工智能平台 用户使用演示</vt:lpstr>
      <vt:lpstr>平台使用的关键术语</vt:lpstr>
      <vt:lpstr>平台状态概览</vt:lpstr>
      <vt:lpstr>Virtual Cluster 虚拟集群，用于用户组，和 用户组资源管理。</vt:lpstr>
      <vt:lpstr>Cluster Status 虚拟集群资源使用状态，和Job状态</vt:lpstr>
      <vt:lpstr>Submit Training Job 提交AI训练任务</vt:lpstr>
      <vt:lpstr>View Jobs AI 训练任务列表</vt:lpstr>
      <vt:lpstr>Manager Job Job 详情</vt:lpstr>
      <vt:lpstr>Manager Job SSH, Jupyter Lab，Tensorboard</vt:lpstr>
      <vt:lpstr>Manager Job Job log</vt:lpstr>
      <vt:lpstr>Manager Job  Job Montior</vt:lpstr>
      <vt:lpstr>用户管理 用户，用户组，角色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中油瑞飞人工智能平台解决方案</dc:title>
  <dc:creator>Jinwen Wu (吴进文)</dc:creator>
  <cp:lastModifiedBy>Bifeng</cp:lastModifiedBy>
  <cp:revision>51</cp:revision>
  <cp:lastPrinted>2020-07-07T03:12:11Z</cp:lastPrinted>
  <dcterms:created xsi:type="dcterms:W3CDTF">2019-12-03T08:32:09Z</dcterms:created>
  <dcterms:modified xsi:type="dcterms:W3CDTF">2020-07-14T01:53:32Z</dcterms:modified>
</cp:coreProperties>
</file>